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146845376" r:id="rId5"/>
    <p:sldId id="2134960115" r:id="rId6"/>
    <p:sldId id="2146845386" r:id="rId7"/>
    <p:sldId id="2146845387" r:id="rId8"/>
    <p:sldId id="2146845388" r:id="rId9"/>
    <p:sldId id="2146845389" r:id="rId10"/>
    <p:sldId id="2146845379" r:id="rId11"/>
    <p:sldId id="2146845391" r:id="rId12"/>
    <p:sldId id="2146845392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15699"/>
    <a:srgbClr val="008986"/>
    <a:srgbClr val="7B8C46"/>
    <a:srgbClr val="3D6960"/>
    <a:srgbClr val="005DAB"/>
    <a:srgbClr val="F4F4F4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116E52-8C3E-4849-B825-6E121022C884}" v="1" dt="2021-05-06T11:32:43.2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Richwood" userId="6a746949-975a-4404-914f-fa4a61014c27" providerId="ADAL" clId="{82116E52-8C3E-4849-B825-6E121022C884}"/>
    <pc:docChg chg="modSld">
      <pc:chgData name="Alexander Richwood" userId="6a746949-975a-4404-914f-fa4a61014c27" providerId="ADAL" clId="{82116E52-8C3E-4849-B825-6E121022C884}" dt="2021-05-06T11:32:43.263" v="0" actId="732"/>
      <pc:docMkLst>
        <pc:docMk/>
      </pc:docMkLst>
      <pc:sldChg chg="modSp">
        <pc:chgData name="Alexander Richwood" userId="6a746949-975a-4404-914f-fa4a61014c27" providerId="ADAL" clId="{82116E52-8C3E-4849-B825-6E121022C884}" dt="2021-05-06T11:32:43.263" v="0" actId="732"/>
        <pc:sldMkLst>
          <pc:docMk/>
          <pc:sldMk cId="1488127441" sldId="2146845387"/>
        </pc:sldMkLst>
        <pc:picChg chg="mod">
          <ac:chgData name="Alexander Richwood" userId="6a746949-975a-4404-914f-fa4a61014c27" providerId="ADAL" clId="{82116E52-8C3E-4849-B825-6E121022C884}" dt="2021-05-06T11:32:43.263" v="0" actId="732"/>
          <ac:picMkLst>
            <pc:docMk/>
            <pc:sldMk cId="1488127441" sldId="2146845387"/>
            <ac:picMk id="9" creationId="{159962FF-7F63-46FD-85D4-B62AE73FD0DE}"/>
          </ac:picMkLst>
        </pc:picChg>
      </pc:sldChg>
    </pc:docChg>
  </pc:docChgLst>
  <pc:docChgLst>
    <pc:chgData name="Gareth Allott" userId="d67bc1e7-5e6e-4540-bcf9-468a02f7a83e" providerId="ADAL" clId="{C79277F4-019A-45FE-9938-E18207829347}"/>
    <pc:docChg chg="delSld">
      <pc:chgData name="Gareth Allott" userId="d67bc1e7-5e6e-4540-bcf9-468a02f7a83e" providerId="ADAL" clId="{C79277F4-019A-45FE-9938-E18207829347}" dt="2021-04-01T16:13:27.041" v="0" actId="47"/>
      <pc:docMkLst>
        <pc:docMk/>
      </pc:docMkLst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1052940337" sldId="2146845347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2695347234" sldId="2146845377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3885126363" sldId="2146845378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3896439458" sldId="2146845380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2248724419" sldId="2146845381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677149024" sldId="2146845382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4002871594" sldId="2146845383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1795712502" sldId="2146845384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3207780222" sldId="2146845385"/>
        </pc:sldMkLst>
      </pc:sldChg>
      <pc:sldChg chg="del">
        <pc:chgData name="Gareth Allott" userId="d67bc1e7-5e6e-4540-bcf9-468a02f7a83e" providerId="ADAL" clId="{C79277F4-019A-45FE-9938-E18207829347}" dt="2021-04-01T16:13:27.041" v="0" actId="47"/>
        <pc:sldMkLst>
          <pc:docMk/>
          <pc:sldMk cId="637932358" sldId="2146845390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668474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534702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67819118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29539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0801903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5158161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0356214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2308191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35869037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037281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94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723777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314804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570751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565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green, outdoor, light&#10;&#10;Description automatically generated">
            <a:extLst>
              <a:ext uri="{FF2B5EF4-FFF2-40B4-BE49-F238E27FC236}">
                <a16:creationId xmlns:a16="http://schemas.microsoft.com/office/drawing/2014/main" id="{D1A3CC65-4654-451C-BEF2-70539A2BD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FEAADAA-BCB4-401E-A014-EF9D57366AB7}"/>
              </a:ext>
            </a:extLst>
          </p:cNvPr>
          <p:cNvSpPr/>
          <p:nvPr/>
        </p:nvSpPr>
        <p:spPr bwMode="auto">
          <a:xfrm>
            <a:off x="0" y="-8879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D18FC5-F1FD-478C-9C83-7C3AE4D32C15}"/>
              </a:ext>
            </a:extLst>
          </p:cNvPr>
          <p:cNvSpPr txBox="1"/>
          <p:nvPr/>
        </p:nvSpPr>
        <p:spPr>
          <a:xfrm>
            <a:off x="401722" y="3002280"/>
            <a:ext cx="63186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Seg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>
                <a:solidFill>
                  <a:prstClr val="white"/>
                </a:solidFill>
                <a:latin typeface="Tahoma"/>
              </a:rPr>
              <a:t>Discussion on the use of segmented content &amp; its application in HCP Journeys</a:t>
            </a:r>
            <a:endParaRPr kumimoji="0" lang="en-GB" sz="240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F583E48-6738-4618-BA34-5964C2B9C680}"/>
              </a:ext>
            </a:extLst>
          </p:cNvPr>
          <p:cNvCxnSpPr>
            <a:cxnSpLocks/>
          </p:cNvCxnSpPr>
          <p:nvPr/>
        </p:nvCxnSpPr>
        <p:spPr bwMode="auto">
          <a:xfrm>
            <a:off x="475488" y="43298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51BEB25-6F31-413D-B1A8-0E709AC9812A}"/>
              </a:ext>
            </a:extLst>
          </p:cNvPr>
          <p:cNvSpPr txBox="1"/>
          <p:nvPr/>
        </p:nvSpPr>
        <p:spPr>
          <a:xfrm>
            <a:off x="448056" y="4457827"/>
            <a:ext cx="2788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ednesday, March 3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8516906-7DF1-4E5D-BD10-2A9E1FB82E96}"/>
              </a:ext>
            </a:extLst>
          </p:cNvPr>
          <p:cNvCxnSpPr>
            <a:cxnSpLocks/>
          </p:cNvCxnSpPr>
          <p:nvPr/>
        </p:nvCxnSpPr>
        <p:spPr bwMode="auto">
          <a:xfrm>
            <a:off x="475488" y="491502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">
            <a:extLst>
              <a:ext uri="{FF2B5EF4-FFF2-40B4-BE49-F238E27FC236}">
                <a16:creationId xmlns:a16="http://schemas.microsoft.com/office/drawing/2014/main" id="{67C051B5-C823-4647-BC36-0BE8E94D02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46030" y="266435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5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9D0526-A0C4-2441-865A-E69D4C890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416" y="399213"/>
            <a:ext cx="4983111" cy="1046410"/>
          </a:xfrm>
        </p:spPr>
        <p:txBody>
          <a:bodyPr/>
          <a:lstStyle/>
          <a:p>
            <a:pPr algn="ctr"/>
            <a:r>
              <a:rPr lang="en-US" sz="3200">
                <a:ea typeface="ＭＳ Ｐゴシック"/>
              </a:rPr>
              <a:t>Meeting Context</a:t>
            </a:r>
            <a:endParaRPr lang="en-US" sz="3200" i="1">
              <a:ea typeface="ＭＳ Ｐゴシック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97BB78FF-0CC6-E249-BE66-8054D588D936}"/>
              </a:ext>
            </a:extLst>
          </p:cNvPr>
          <p:cNvSpPr txBox="1">
            <a:spLocks/>
          </p:cNvSpPr>
          <p:nvPr/>
        </p:nvSpPr>
        <p:spPr bwMode="auto">
          <a:xfrm>
            <a:off x="6372523" y="1773238"/>
            <a:ext cx="5291976" cy="3481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rgbClr val="3D6960"/>
                </a:solidFill>
                <a:latin typeface="Tahoma"/>
              </a:rPr>
              <a:t>Communicate our understanding of how segmented content can be used to best engage with HCPs</a:t>
            </a:r>
            <a:endParaRPr lang="en-GB" sz="1800">
              <a:solidFill>
                <a:srgbClr val="3D6960"/>
              </a:solidFill>
              <a:latin typeface="Tahoma"/>
            </a:endParaRPr>
          </a:p>
          <a:p>
            <a:pPr marL="1200150" lvl="2" indent="-285750"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endParaRPr lang="en-GB" sz="1800">
              <a:solidFill>
                <a:srgbClr val="3D6960"/>
              </a:solidFill>
              <a:latin typeface="Tahoma"/>
            </a:endParaRPr>
          </a:p>
          <a:p>
            <a:pPr marL="285750" indent="-285750"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rgbClr val="3D6960"/>
                </a:solidFill>
                <a:latin typeface="Tahoma"/>
              </a:rPr>
              <a:t>Align on understanding as to the </a:t>
            </a:r>
            <a:r>
              <a:rPr lang="en-GB" sz="2000">
                <a:solidFill>
                  <a:schemeClr val="accent1"/>
                </a:solidFill>
                <a:latin typeface="Tahoma"/>
              </a:rPr>
              <a:t>segmentation</a:t>
            </a:r>
            <a:r>
              <a:rPr lang="en-GB" sz="2000" b="0">
                <a:solidFill>
                  <a:srgbClr val="3D6960"/>
                </a:solidFill>
                <a:latin typeface="Tahoma"/>
              </a:rPr>
              <a:t> of Galapagos existing conte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DEDF2B-2AEF-410B-B775-A0BE9A758D1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87384" y="1773238"/>
            <a:ext cx="5633356" cy="4343400"/>
          </a:xfrm>
        </p:spPr>
        <p:txBody>
          <a:bodyPr/>
          <a:lstStyle/>
          <a:p>
            <a:r>
              <a:rPr lang="en-GB" sz="2000">
                <a:ea typeface="ＭＳ Ｐゴシック"/>
              </a:rPr>
              <a:t>Prior to developing the HCP Journey maps, </a:t>
            </a:r>
            <a:r>
              <a:rPr lang="en-GB" sz="2000" b="1">
                <a:solidFill>
                  <a:schemeClr val="accent1"/>
                </a:solidFill>
                <a:ea typeface="ＭＳ Ｐゴシック"/>
              </a:rPr>
              <a:t>alignment is required </a:t>
            </a:r>
            <a:r>
              <a:rPr lang="en-GB" sz="2000">
                <a:ea typeface="ＭＳ Ｐゴシック"/>
              </a:rPr>
              <a:t>amongst key Galapagos stakeholders as to the segmentation of existing content, to ensure that:</a:t>
            </a:r>
          </a:p>
          <a:p>
            <a:pPr lvl="1"/>
            <a:r>
              <a:rPr lang="en-GB" sz="1600">
                <a:ea typeface="ＭＳ Ｐゴシック"/>
              </a:rPr>
              <a:t>HCP Journey Maps designed above-market are in line with expectations and usable by the local markets</a:t>
            </a:r>
          </a:p>
          <a:p>
            <a:pPr lvl="1"/>
            <a:r>
              <a:rPr lang="en-GB" sz="1600">
                <a:ea typeface="ＭＳ Ｐゴシック"/>
              </a:rPr>
              <a:t>Messaging conveyed to local markets is consistent 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489FA5FF-8180-48C4-A5D8-29987055A2C6}"/>
              </a:ext>
            </a:extLst>
          </p:cNvPr>
          <p:cNvSpPr txBox="1">
            <a:spLocks/>
          </p:cNvSpPr>
          <p:nvPr/>
        </p:nvSpPr>
        <p:spPr bwMode="auto">
          <a:xfrm>
            <a:off x="6206826" y="399213"/>
            <a:ext cx="4983111" cy="104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3D6960"/>
                </a:solidFill>
                <a:effectLst/>
                <a:uLnTx/>
                <a:uFillTx/>
                <a:latin typeface="Tahoma"/>
                <a:ea typeface="ＭＳ Ｐゴシック"/>
              </a:rPr>
              <a:t>Meeting Objectives</a:t>
            </a:r>
            <a:endParaRPr kumimoji="0" lang="en-US" sz="3200" b="1" i="1" u="none" strike="noStrike" kern="0" cap="none" spc="0" normalizeH="0" baseline="0" noProof="0">
              <a:ln>
                <a:noFill/>
              </a:ln>
              <a:solidFill>
                <a:srgbClr val="3D6960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6779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62311"/>
          </a:xfrm>
        </p:spPr>
        <p:txBody>
          <a:bodyPr/>
          <a:lstStyle/>
          <a:p>
            <a:r>
              <a:rPr lang="en-US"/>
              <a:t>Segmented Content – Setting the Stag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7E0BAC-02F8-4482-B35E-B697D6C47B67}"/>
              </a:ext>
            </a:extLst>
          </p:cNvPr>
          <p:cNvSpPr/>
          <p:nvPr/>
        </p:nvSpPr>
        <p:spPr bwMode="auto">
          <a:xfrm>
            <a:off x="0" y="1676400"/>
            <a:ext cx="12192000" cy="17526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4859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egmented content</a:t>
            </a: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 </a:t>
            </a:r>
          </a:p>
          <a:p>
            <a:pPr marL="14859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>
                <a:solidFill>
                  <a:schemeClr val="bg1"/>
                </a:solidFill>
                <a:latin typeface="Tahoma" pitchFamily="-107" charset="0"/>
              </a:rPr>
              <a:t>C</a:t>
            </a: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ontent that addresses the specific needs of a customer segment</a:t>
            </a: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6" name="Graphic 5" descr="Puzzle pieces with solid fill">
            <a:extLst>
              <a:ext uri="{FF2B5EF4-FFF2-40B4-BE49-F238E27FC236}">
                <a16:creationId xmlns:a16="http://schemas.microsoft.com/office/drawing/2014/main" id="{D097069E-4F81-4D2A-9FE3-0AA6762F5D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7982" y="1936750"/>
            <a:ext cx="1231900" cy="12319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EBA1934-9C7E-493C-93B4-E10C19C8B014}"/>
              </a:ext>
            </a:extLst>
          </p:cNvPr>
          <p:cNvSpPr txBox="1"/>
          <p:nvPr/>
        </p:nvSpPr>
        <p:spPr>
          <a:xfrm>
            <a:off x="760679" y="828674"/>
            <a:ext cx="1049660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When we talk about segmented content, what do we mean?</a:t>
            </a:r>
            <a:endParaRPr lang="en-GB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3947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62311"/>
          </a:xfrm>
        </p:spPr>
        <p:txBody>
          <a:bodyPr/>
          <a:lstStyle/>
          <a:p>
            <a:r>
              <a:rPr lang="en-US"/>
              <a:t>HCP Segmentation Distinctions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BA1934-9C7E-493C-93B4-E10C19C8B014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hile the goal for each of the customer segments is the same – to prescribe JYSELECA and turns HCPs into advocates, the means to achieve this goal differs per segmen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2DBF2A-5B48-46B6-BA53-AD7E356E58A7}"/>
              </a:ext>
            </a:extLst>
          </p:cNvPr>
          <p:cNvSpPr txBox="1">
            <a:spLocks/>
          </p:cNvSpPr>
          <p:nvPr/>
        </p:nvSpPr>
        <p:spPr bwMode="auto">
          <a:xfrm>
            <a:off x="996267" y="2313773"/>
            <a:ext cx="10623061" cy="56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r>
              <a:rPr lang="en-US" kern="0"/>
              <a:t>HCP Segmentation</a:t>
            </a:r>
            <a:endParaRPr lang="en-GB" kern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74BD71-460D-4D2F-B4CD-64F6D4C0E974}"/>
              </a:ext>
            </a:extLst>
          </p:cNvPr>
          <p:cNvSpPr txBox="1"/>
          <p:nvPr/>
        </p:nvSpPr>
        <p:spPr>
          <a:xfrm>
            <a:off x="1015362" y="2881798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The RA team has grouped HCPs into </a:t>
            </a:r>
            <a:r>
              <a:rPr lang="en-US" b="1">
                <a:solidFill>
                  <a:schemeClr val="accent1"/>
                </a:solidFill>
              </a:rPr>
              <a:t>four distinct segments </a:t>
            </a:r>
            <a:r>
              <a:rPr lang="en-US" b="1">
                <a:solidFill>
                  <a:schemeClr val="bg2"/>
                </a:solidFill>
              </a:rPr>
              <a:t>based on specified behaviors &amp; attitudes, and to best engage with segments requires the use of segmented content </a:t>
            </a:r>
            <a:endParaRPr lang="en-GB" b="1">
              <a:solidFill>
                <a:schemeClr val="bg2"/>
              </a:solidFill>
            </a:endParaRPr>
          </a:p>
        </p:txBody>
      </p:sp>
      <p:pic>
        <p:nvPicPr>
          <p:cNvPr id="9" name="Picture 2" descr="Machine generated alternative text:&#10;Behavioural/attitudinal segmentation have been shaped by &#10;the integrated brand team to tailor our communication &amp; &#10;approach &#10;Mavericks &#10;Early adopters who perceive &#10;differences in JAKI &#10;• Not tied to the rules but &#10;follow the science &#10;• Prioritise efficacy &#10;• Seek patient feedback to be &#10;seen as nero &#10;&quot;l am confident I can get the &#10;best outcorne possible tor &#10;each patient&quot; &#10;Pragmabsts &#10;Rule breakers (within reason) &#10;due to strong trust in own &#10;expenence &#10;• Work around the rules when &#10;needed &#10;• Prioritise safety &#10;Rely on their own experience &#10;&quot;In my experience sometimes &#10;you need to been the rules&quot; &#10;Compassionates &#10;Patient centric, want balanced &#10;treatment within the guidelines &#10;• Use guidelines as safety net &#10;• Most reward from improving &#10;patients lives &#10;• Looks to peers for reference &#10;'l can do the Dest tor my &#10;patients Dy following the data &#10;&amp; guidelines&quot; &#10;Conformists &#10;Conservative, risk averse, and &#10;late adopters &#10;• Safety focused &#10;• Use guidelines as a safety net &#10;• Use own experience to &#10;effciently save a challenge &#10;&quot;Sticking to what I know is the &#10;most effective way to manage &#10;my caseload&quot; ">
            <a:extLst>
              <a:ext uri="{FF2B5EF4-FFF2-40B4-BE49-F238E27FC236}">
                <a16:creationId xmlns:a16="http://schemas.microsoft.com/office/drawing/2014/main" id="{159962FF-7F63-46FD-85D4-B62AE73FD0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" t="31920" r="5686" b="50099"/>
          <a:stretch/>
        </p:blipFill>
        <p:spPr bwMode="auto">
          <a:xfrm>
            <a:off x="607745" y="1811824"/>
            <a:ext cx="10756900" cy="928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2D7CE4-B125-4352-98BC-3E19CEFDBB5C}"/>
              </a:ext>
            </a:extLst>
          </p:cNvPr>
          <p:cNvSpPr/>
          <p:nvPr/>
        </p:nvSpPr>
        <p:spPr bwMode="auto">
          <a:xfrm>
            <a:off x="732203" y="27398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arly adopters who perceive differences in JAK1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b="1">
                <a:solidFill>
                  <a:srgbClr val="A15699"/>
                </a:solidFill>
                <a:latin typeface="Tahoma" pitchFamily="-107" charset="0"/>
              </a:rPr>
              <a:t>Why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does this segment prescribe?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rescribes early due to interest in latest science/new MOAs/new product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fficac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A15699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A15699"/>
                </a:solidFill>
                <a:latin typeface="Tahoma" pitchFamily="-107" charset="0"/>
              </a:rPr>
              <a:t>I am confident I can get the best outcome possible for each patient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A15699"/>
              </a:solidFill>
              <a:effectLst/>
              <a:latin typeface="Tahoma" pitchFamily="-107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60943C-1E8D-4C7E-B9B3-A79300D641A4}"/>
              </a:ext>
            </a:extLst>
          </p:cNvPr>
          <p:cNvSpPr/>
          <p:nvPr/>
        </p:nvSpPr>
        <p:spPr bwMode="auto">
          <a:xfrm>
            <a:off x="3455413" y="27398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uzzle solvers who have a strong trust in their own experienc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Why does this segment prescrib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ands-on learners, high likelihood as early prescribers as they want to see the results of new treatments for themselve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afet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008986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008986"/>
                </a:solidFill>
                <a:latin typeface="Tahoma" pitchFamily="-107" charset="0"/>
              </a:rPr>
              <a:t>In my experience, sometimes you need to break the rules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008986"/>
              </a:solidFill>
              <a:effectLst/>
              <a:latin typeface="Tahoma" pitchFamily="-107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18191D-8525-4C54-B67C-FCA4A2124473}"/>
              </a:ext>
            </a:extLst>
          </p:cNvPr>
          <p:cNvSpPr/>
          <p:nvPr/>
        </p:nvSpPr>
        <p:spPr bwMode="auto">
          <a:xfrm>
            <a:off x="6263662" y="27398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7B8C46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7B8C46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atient centric, want balanced treatment within the guidelines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solidFill>
                <a:srgbClr val="7B8C46"/>
              </a:solidFill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7B8C46"/>
                </a:solidFill>
                <a:effectLst/>
                <a:latin typeface="Tahoma" pitchFamily="-107" charset="0"/>
              </a:rPr>
              <a:t>Why does this segment prescrib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100">
                <a:latin typeface="Tahoma" pitchFamily="-107" charset="0"/>
              </a:rPr>
              <a:t>Has heard referrals from peers and KOLs as to successes of new MOA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100">
                <a:latin typeface="Tahoma" pitchFamily="-107" charset="0"/>
              </a:rPr>
              <a:t>Balance between guideline/safet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7B8C46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7B8C46"/>
                </a:solidFill>
                <a:latin typeface="Tahoma" pitchFamily="-107" charset="0"/>
              </a:rPr>
              <a:t>I can do the best for my patients by following the data and guidelines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7B8C46"/>
              </a:solidFill>
              <a:effectLst/>
              <a:latin typeface="Tahoma" pitchFamily="-107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FE12B2-5701-4C08-9945-68FAEE5D6B94}"/>
              </a:ext>
            </a:extLst>
          </p:cNvPr>
          <p:cNvSpPr/>
          <p:nvPr/>
        </p:nvSpPr>
        <p:spPr bwMode="auto">
          <a:xfrm>
            <a:off x="8986872" y="2775049"/>
            <a:ext cx="2275840" cy="3052477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5DAB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005DAB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Conservative, risk averse, and late adopter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solidFill>
                <a:srgbClr val="7B8C46"/>
              </a:solidFill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5DAB"/>
                </a:solidFill>
                <a:effectLst/>
                <a:latin typeface="Tahoma" pitchFamily="-107" charset="0"/>
              </a:rPr>
              <a:t>Why does this segment prescrib</a:t>
            </a:r>
            <a:r>
              <a:rPr lang="en-US" sz="1100" b="1">
                <a:solidFill>
                  <a:srgbClr val="005DAB"/>
                </a:solidFill>
                <a:latin typeface="Tahoma" pitchFamily="-107" charset="0"/>
              </a:rPr>
              <a:t>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100">
                <a:latin typeface="Tahoma" pitchFamily="-107" charset="0"/>
              </a:rPr>
              <a:t>Does not regularly prescribe new treatments as they rely on experience to dictate behavior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005DAB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005DAB"/>
                </a:solidFill>
                <a:latin typeface="Tahoma" pitchFamily="-107" charset="0"/>
              </a:rPr>
              <a:t>Sticking to what I know is the most effective way to manage my caseload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005DAB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1274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62311"/>
          </a:xfrm>
        </p:spPr>
        <p:txBody>
          <a:bodyPr/>
          <a:lstStyle/>
          <a:p>
            <a:r>
              <a:rPr lang="en-US"/>
              <a:t>JYSELECA Launch Strategy – RA 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BA1934-9C7E-493C-93B4-E10C19C8B014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Based on the behaviours of the various segments, JYSELCA’s launch strategy is to focus on the segments that are likely to become early adopters. </a:t>
            </a:r>
          </a:p>
        </p:txBody>
      </p:sp>
      <p:pic>
        <p:nvPicPr>
          <p:cNvPr id="9" name="Picture 2" descr="Machine generated alternative text:&#10;Behavioural/attitudinal segmentation have been shaped by &#10;the integrated brand team to tailor our communication &amp; &#10;approach &#10;Mavericks &#10;Early adopters who perceive &#10;differences in JAKI &#10;• Not tied to the rules but &#10;follow the science &#10;• Prioritise efficacy &#10;• Seek patient feedback to be &#10;seen as nero &#10;&quot;l am confident I can get the &#10;best outcorne possible tor &#10;each patient&quot; &#10;Pragmabsts &#10;Rule breakers (within reason) &#10;due to strong trust in own &#10;expenence &#10;• Work around the rules when &#10;needed &#10;• Prioritise safety &#10;Rely on their own experience &#10;&quot;In my experience sometimes &#10;you need to been the rules&quot; &#10;Compassionates &#10;Patient centric, want balanced &#10;treatment within the guidelines &#10;• Use guidelines as safety net &#10;• Most reward from improving &#10;patients lives &#10;• Looks to peers for reference &#10;'l can do the Dest tor my &#10;patients Dy following the data &#10;&amp; guidelines&quot; &#10;Conformists &#10;Conservative, risk averse, and &#10;late adopters &#10;• Safety focused &#10;• Use guidelines as a safety net &#10;• Use own experience to &#10;effciently save a challenge &#10;&quot;Sticking to what I know is the &#10;most effective way to manage &#10;my caseload&quot; ">
            <a:extLst>
              <a:ext uri="{FF2B5EF4-FFF2-40B4-BE49-F238E27FC236}">
                <a16:creationId xmlns:a16="http://schemas.microsoft.com/office/drawing/2014/main" id="{159962FF-7F63-46FD-85D4-B62AE73FD0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" t="31920" r="50736" b="1"/>
          <a:stretch/>
        </p:blipFill>
        <p:spPr bwMode="auto">
          <a:xfrm>
            <a:off x="3238512" y="1824523"/>
            <a:ext cx="5527694" cy="3513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2D7CE4-B125-4352-98BC-3E19CEFDBB5C}"/>
              </a:ext>
            </a:extLst>
          </p:cNvPr>
          <p:cNvSpPr/>
          <p:nvPr/>
        </p:nvSpPr>
        <p:spPr bwMode="auto">
          <a:xfrm>
            <a:off x="3362970" y="27525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arly adopters who perceive differences in JAK1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b="1">
                <a:solidFill>
                  <a:srgbClr val="A15699"/>
                </a:solidFill>
                <a:latin typeface="Tahoma" pitchFamily="-107" charset="0"/>
              </a:rPr>
              <a:t>Why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does this segment prescribe?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rescribes early due to interest in latest science/new MOAs/new product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fficac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A15699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A15699"/>
                </a:solidFill>
                <a:latin typeface="Tahoma" pitchFamily="-107" charset="0"/>
              </a:rPr>
              <a:t>I am confident I can get the best outcome possible for each patient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A15699"/>
              </a:solidFill>
              <a:effectLst/>
              <a:latin typeface="Tahoma" pitchFamily="-107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60943C-1E8D-4C7E-B9B3-A79300D641A4}"/>
              </a:ext>
            </a:extLst>
          </p:cNvPr>
          <p:cNvSpPr/>
          <p:nvPr/>
        </p:nvSpPr>
        <p:spPr bwMode="auto">
          <a:xfrm>
            <a:off x="6064183" y="2752556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uzzle solvers who have a strong trust in their own experienc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Why does this segment prescrib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ands-on learners, high likelihood as early prescribers as they want to see the results of new treatments for themselve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afet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008986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008986"/>
                </a:solidFill>
                <a:latin typeface="Tahoma" pitchFamily="-107" charset="0"/>
              </a:rPr>
              <a:t>In my experience, sometimes you need to break the rules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008986"/>
              </a:solidFill>
              <a:effectLst/>
              <a:latin typeface="Tahoma" pitchFamily="-107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DA71A7A-F5A6-49AC-85B2-993C305DF0F4}"/>
              </a:ext>
            </a:extLst>
          </p:cNvPr>
          <p:cNvSpPr/>
          <p:nvPr/>
        </p:nvSpPr>
        <p:spPr bwMode="auto">
          <a:xfrm>
            <a:off x="2862484" y="1633358"/>
            <a:ext cx="5884627" cy="4589642"/>
          </a:xfrm>
          <a:prstGeom prst="round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61081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A6A44-3792-418C-8233-52C07FEF4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92791"/>
          </a:xfrm>
        </p:spPr>
        <p:txBody>
          <a:bodyPr/>
          <a:lstStyle/>
          <a:p>
            <a:r>
              <a:rPr lang="en-US"/>
              <a:t>Key Messaging per Segment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A3606A-C333-470F-A13A-771377B21FC2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With these segments in mind, message</a:t>
            </a:r>
            <a:r>
              <a:rPr lang="en-GB" b="1">
                <a:solidFill>
                  <a:schemeClr val="bg2"/>
                </a:solidFill>
              </a:rPr>
              <a:t> points have been developed by segment to support their progress on the adoption ladder</a:t>
            </a:r>
            <a:endParaRPr lang="en-GB" b="1">
              <a:solidFill>
                <a:srgbClr val="80808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20157E-7BFC-40B5-A06F-296319F0C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2216337"/>
            <a:ext cx="240497" cy="258395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D2E89D4E-3C86-4DF9-A506-3E6F9C7A14A2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9678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6749B4-2884-4478-8C5B-DCAEEC2B7BDF}"/>
              </a:ext>
            </a:extLst>
          </p:cNvPr>
          <p:cNvSpPr txBox="1"/>
          <p:nvPr/>
        </p:nvSpPr>
        <p:spPr>
          <a:xfrm>
            <a:off x="1337711" y="1925424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B7F033-5B07-42A1-9CE9-6DD0809E2BC0}"/>
              </a:ext>
            </a:extLst>
          </p:cNvPr>
          <p:cNvSpPr txBox="1"/>
          <p:nvPr/>
        </p:nvSpPr>
        <p:spPr>
          <a:xfrm>
            <a:off x="3550641" y="1925424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491EA4-395D-42B6-BBC4-7A1FD0F95565}"/>
              </a:ext>
            </a:extLst>
          </p:cNvPr>
          <p:cNvSpPr txBox="1"/>
          <p:nvPr/>
        </p:nvSpPr>
        <p:spPr>
          <a:xfrm>
            <a:off x="5758608" y="1925424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D2DBBA-4FBC-4061-9785-2E5112548801}"/>
              </a:ext>
            </a:extLst>
          </p:cNvPr>
          <p:cNvSpPr txBox="1"/>
          <p:nvPr/>
        </p:nvSpPr>
        <p:spPr>
          <a:xfrm>
            <a:off x="7960405" y="1925424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B181FE-0467-420E-85E2-82F43706E743}"/>
              </a:ext>
            </a:extLst>
          </p:cNvPr>
          <p:cNvSpPr txBox="1"/>
          <p:nvPr/>
        </p:nvSpPr>
        <p:spPr>
          <a:xfrm>
            <a:off x="10174539" y="1925424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C404A9D-6CE2-4D11-A1A2-9A2F2C55BD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2199967"/>
            <a:ext cx="240497" cy="258395"/>
          </a:xfrm>
          <a:prstGeom prst="rect">
            <a:avLst/>
          </a:prstGeom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0CBD5A67-70D1-4766-87EE-DC0EF607E2D7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95150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5595978-2850-40D9-93B8-96E3D1E581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2216337"/>
            <a:ext cx="240497" cy="258395"/>
          </a:xfrm>
          <a:prstGeom prst="rect">
            <a:avLst/>
          </a:prstGeom>
        </p:spPr>
      </p:pic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8B94DFFA-2DD5-4861-B7B8-109B04944FD6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9678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9CFC39-4080-4418-B667-CC7194321B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2216337"/>
            <a:ext cx="240497" cy="258395"/>
          </a:xfrm>
          <a:prstGeom prst="rect">
            <a:avLst/>
          </a:prstGeom>
        </p:spPr>
      </p:pic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C79447EF-9537-4665-B825-FE9F81432DBC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9678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B36D0E9-E09A-44B3-9727-4ED3CEB279D5}"/>
              </a:ext>
            </a:extLst>
          </p:cNvPr>
          <p:cNvCxnSpPr/>
          <p:nvPr/>
        </p:nvCxnSpPr>
        <p:spPr bwMode="auto">
          <a:xfrm>
            <a:off x="0" y="2406914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5699A37-9119-46D5-80F2-D3351028399F}"/>
              </a:ext>
            </a:extLst>
          </p:cNvPr>
          <p:cNvSpPr txBox="1"/>
          <p:nvPr/>
        </p:nvSpPr>
        <p:spPr>
          <a:xfrm>
            <a:off x="46420" y="18647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F18EA3-84D3-4AF6-A0F9-B96F84C4C333}"/>
              </a:ext>
            </a:extLst>
          </p:cNvPr>
          <p:cNvSpPr txBox="1"/>
          <p:nvPr/>
        </p:nvSpPr>
        <p:spPr>
          <a:xfrm>
            <a:off x="1675384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4656C7-54DD-4C1E-8F4F-3B027648CD82}"/>
              </a:ext>
            </a:extLst>
          </p:cNvPr>
          <p:cNvSpPr txBox="1"/>
          <p:nvPr/>
        </p:nvSpPr>
        <p:spPr>
          <a:xfrm>
            <a:off x="3922016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424C12-1DF2-48AE-8174-89DE29BD2293}"/>
              </a:ext>
            </a:extLst>
          </p:cNvPr>
          <p:cNvSpPr txBox="1"/>
          <p:nvPr/>
        </p:nvSpPr>
        <p:spPr>
          <a:xfrm>
            <a:off x="6096000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F21496-F89F-470F-8CC1-8A8D821D5B05}"/>
              </a:ext>
            </a:extLst>
          </p:cNvPr>
          <p:cNvSpPr txBox="1"/>
          <p:nvPr/>
        </p:nvSpPr>
        <p:spPr>
          <a:xfrm>
            <a:off x="8336586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9C8D41-0550-472A-B16F-0458C87D4EBA}"/>
              </a:ext>
            </a:extLst>
          </p:cNvPr>
          <p:cNvSpPr txBox="1"/>
          <p:nvPr/>
        </p:nvSpPr>
        <p:spPr>
          <a:xfrm>
            <a:off x="10527268" y="1647725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D0E00C-6E59-4324-81F4-C9F6B2AE96DC}"/>
              </a:ext>
            </a:extLst>
          </p:cNvPr>
          <p:cNvSpPr txBox="1"/>
          <p:nvPr/>
        </p:nvSpPr>
        <p:spPr>
          <a:xfrm rot="16200000">
            <a:off x="-393443" y="4111698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/>
              <a:t>Messag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708EEB0-E4B1-4CAE-90FC-094A14DDA6FB}"/>
              </a:ext>
            </a:extLst>
          </p:cNvPr>
          <p:cNvSpPr/>
          <p:nvPr/>
        </p:nvSpPr>
        <p:spPr bwMode="auto">
          <a:xfrm>
            <a:off x="1337711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eed for new treatment options – they already agree with this and are keen to try new options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1267B53-F928-4205-B091-03EEF1DB427C}"/>
              </a:ext>
            </a:extLst>
          </p:cNvPr>
          <p:cNvSpPr/>
          <p:nvPr/>
        </p:nvSpPr>
        <p:spPr>
          <a:xfrm>
            <a:off x="534603" y="3028659"/>
            <a:ext cx="835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err="1">
                <a:solidFill>
                  <a:schemeClr val="tx2"/>
                </a:solidFill>
              </a:rPr>
              <a:t>Mvrks</a:t>
            </a:r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73F547E-46CA-4F55-9832-53C02E9B1CC8}"/>
              </a:ext>
            </a:extLst>
          </p:cNvPr>
          <p:cNvSpPr/>
          <p:nvPr/>
        </p:nvSpPr>
        <p:spPr bwMode="auto">
          <a:xfrm>
            <a:off x="1337710" y="3904671"/>
            <a:ext cx="1879441" cy="1005840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C8B2BA-BDD3-4230-AFA5-5CA7085C06FA}"/>
              </a:ext>
            </a:extLst>
          </p:cNvPr>
          <p:cNvSpPr/>
          <p:nvPr/>
        </p:nvSpPr>
        <p:spPr bwMode="auto">
          <a:xfrm>
            <a:off x="1337712" y="5093608"/>
            <a:ext cx="1879440" cy="90969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Focus on unmet needs from a patient perspective – less from an HCP perspective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431C0B0-4E3D-4FB9-88C8-EBF5B441F765}"/>
              </a:ext>
            </a:extLst>
          </p:cNvPr>
          <p:cNvSpPr/>
          <p:nvPr/>
        </p:nvSpPr>
        <p:spPr bwMode="auto">
          <a:xfrm>
            <a:off x="3550641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</a:rPr>
              <a:t>E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xpose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to full data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A1FF1E-0C1D-424A-A8BE-BEB6E0CE9972}"/>
              </a:ext>
            </a:extLst>
          </p:cNvPr>
          <p:cNvSpPr/>
          <p:nvPr/>
        </p:nvSpPr>
        <p:spPr bwMode="auto">
          <a:xfrm>
            <a:off x="3550641" y="3904671"/>
            <a:ext cx="1879442" cy="1005839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Expose to full data incl safety, ref trusted peers and hands-on experience]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B1F1FA7-D607-43AA-8E2C-5FC506E9C8BF}"/>
              </a:ext>
            </a:extLst>
          </p:cNvPr>
          <p:cNvSpPr/>
          <p:nvPr/>
        </p:nvSpPr>
        <p:spPr bwMode="auto">
          <a:xfrm>
            <a:off x="3550641" y="5093608"/>
            <a:ext cx="1893159" cy="91156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KOL/Peer perspectives on JYS safety and simplicity – ‘permission to try’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A6198D2-558A-4575-9565-1B3FEA0E5D2C}"/>
              </a:ext>
            </a:extLst>
          </p:cNvPr>
          <p:cNvSpPr/>
          <p:nvPr/>
        </p:nvSpPr>
        <p:spPr bwMode="auto">
          <a:xfrm>
            <a:off x="5758608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Reinforce experience, share additional data freely, seed need to share with others]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ED79497-7A0C-4CA7-9727-B8CA19516F89}"/>
              </a:ext>
            </a:extLst>
          </p:cNvPr>
          <p:cNvSpPr/>
          <p:nvPr/>
        </p:nvSpPr>
        <p:spPr bwMode="auto">
          <a:xfrm>
            <a:off x="5758608" y="3904672"/>
            <a:ext cx="1828800" cy="1005838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3B8AB75-CA1E-42F2-A649-2753A76BD824}"/>
              </a:ext>
            </a:extLst>
          </p:cNvPr>
          <p:cNvSpPr/>
          <p:nvPr/>
        </p:nvSpPr>
        <p:spPr bwMode="auto">
          <a:xfrm>
            <a:off x="5758608" y="5093608"/>
            <a:ext cx="1879442" cy="90969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Share/encourage patient feedback, patient perspectives, PIOs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FF9AF85-576B-4579-8380-BF42C50C12CD}"/>
              </a:ext>
            </a:extLst>
          </p:cNvPr>
          <p:cNvSpPr/>
          <p:nvPr/>
        </p:nvSpPr>
        <p:spPr bwMode="auto">
          <a:xfrm>
            <a:off x="7960405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638145D-7985-471B-812B-9798374EEAE6}"/>
              </a:ext>
            </a:extLst>
          </p:cNvPr>
          <p:cNvSpPr/>
          <p:nvPr/>
        </p:nvSpPr>
        <p:spPr bwMode="auto">
          <a:xfrm>
            <a:off x="7960405" y="3904671"/>
            <a:ext cx="1891780" cy="1005835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Expand patient types as experience is gained – give different ‘pegs’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8317C9A-23AB-46EC-9286-EAE7DE2E55D5}"/>
              </a:ext>
            </a:extLst>
          </p:cNvPr>
          <p:cNvSpPr/>
          <p:nvPr/>
        </p:nvSpPr>
        <p:spPr bwMode="auto">
          <a:xfrm>
            <a:off x="7960405" y="5091739"/>
            <a:ext cx="1891780" cy="90969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Broaden profiles for patient feedback, patient perspectives, PIOs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50F3EFD-1EE8-4723-A018-7226D4705B2C}"/>
              </a:ext>
            </a:extLst>
          </p:cNvPr>
          <p:cNvSpPr/>
          <p:nvPr/>
        </p:nvSpPr>
        <p:spPr bwMode="auto">
          <a:xfrm>
            <a:off x="10174539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C459BB0-E8D6-4B2D-BE5C-39B9D4A41B7F}"/>
              </a:ext>
            </a:extLst>
          </p:cNvPr>
          <p:cNvSpPr/>
          <p:nvPr/>
        </p:nvSpPr>
        <p:spPr bwMode="auto">
          <a:xfrm>
            <a:off x="10174539" y="3904672"/>
            <a:ext cx="1837643" cy="10058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Consolidate experience to lead to JAK of choice ‘peg’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6396AA-5722-4D25-945B-D34468FF2DB2}"/>
              </a:ext>
            </a:extLst>
          </p:cNvPr>
          <p:cNvSpPr/>
          <p:nvPr/>
        </p:nvSpPr>
        <p:spPr bwMode="auto">
          <a:xfrm>
            <a:off x="10174539" y="5091740"/>
            <a:ext cx="1850151" cy="909689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Consolidate experience and </a:t>
            </a:r>
            <a:r>
              <a:rPr lang="en-US" sz="1200" err="1">
                <a:solidFill>
                  <a:srgbClr val="000000"/>
                </a:solidFill>
              </a:rPr>
              <a:t>ptn</a:t>
            </a:r>
            <a:r>
              <a:rPr lang="en-US" sz="1200">
                <a:solidFill>
                  <a:srgbClr val="000000"/>
                </a:solidFill>
              </a:rPr>
              <a:t> feedback to lead to JAK of choice ‘peg’ and 1L use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ABAF46D-E9A7-4E1B-8AA9-181478A60C1E}"/>
              </a:ext>
            </a:extLst>
          </p:cNvPr>
          <p:cNvSpPr/>
          <p:nvPr/>
        </p:nvSpPr>
        <p:spPr>
          <a:xfrm>
            <a:off x="598037" y="4242288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err="1">
                <a:solidFill>
                  <a:schemeClr val="tx2"/>
                </a:solidFill>
              </a:rPr>
              <a:t>Prgmts</a:t>
            </a:r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98B762A-B71B-4BBC-8300-C7235EB06C7B}"/>
              </a:ext>
            </a:extLst>
          </p:cNvPr>
          <p:cNvSpPr/>
          <p:nvPr/>
        </p:nvSpPr>
        <p:spPr>
          <a:xfrm>
            <a:off x="178029" y="5399818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err="1">
                <a:solidFill>
                  <a:schemeClr val="tx2"/>
                </a:solidFill>
              </a:rPr>
              <a:t>Cmpsts</a:t>
            </a:r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B2B1DB0-B2B2-4ABA-B456-4ED50B00ECB1}"/>
              </a:ext>
            </a:extLst>
          </p:cNvPr>
          <p:cNvSpPr txBox="1"/>
          <p:nvPr/>
        </p:nvSpPr>
        <p:spPr>
          <a:xfrm>
            <a:off x="1336269" y="6146652"/>
            <a:ext cx="89888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/>
              <a:t>Note that although priority has been set for Mavericks &amp; Pragmatists at launch, key messaging for Compassionates has been collected for future purposes.</a:t>
            </a:r>
            <a:endParaRPr lang="en-GB" sz="1400" i="1"/>
          </a:p>
        </p:txBody>
      </p:sp>
    </p:spTree>
    <p:extLst>
      <p:ext uri="{BB962C8B-B14F-4D97-AF65-F5344CB8AC3E}">
        <p14:creationId xmlns:p14="http://schemas.microsoft.com/office/powerpoint/2010/main" val="59692251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DCDB5-AF31-4B0F-A965-B862AA95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isting Content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C64B99-7108-4044-894D-EFDEE28FD34F}"/>
              </a:ext>
            </a:extLst>
          </p:cNvPr>
          <p:cNvSpPr txBox="1"/>
          <p:nvPr/>
        </p:nvSpPr>
        <p:spPr>
          <a:xfrm>
            <a:off x="760679" y="828674"/>
            <a:ext cx="1049660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Assets developed or in progress by the international team are designed to meet RA JYSELECA objectives and convey key messages.  As key messages are aimed at specific segments, </a:t>
            </a:r>
            <a:r>
              <a:rPr lang="en-GB" b="1">
                <a:solidFill>
                  <a:schemeClr val="accent1"/>
                </a:solidFill>
              </a:rPr>
              <a:t>assets are therefore segmented as well</a:t>
            </a:r>
            <a:r>
              <a:rPr lang="en-GB" b="1">
                <a:solidFill>
                  <a:schemeClr val="bg2"/>
                </a:solidFill>
              </a:rPr>
              <a:t>. </a:t>
            </a:r>
            <a:endParaRPr lang="en-GB" b="1">
              <a:solidFill>
                <a:srgbClr val="80808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C5B1F5-1957-4E7E-916F-AE4959E738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17" b="5842"/>
          <a:stretch/>
        </p:blipFill>
        <p:spPr>
          <a:xfrm>
            <a:off x="77002" y="2560979"/>
            <a:ext cx="12114998" cy="211689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2496994-CF44-4BDE-BC3A-08E30FD74B2B}"/>
              </a:ext>
            </a:extLst>
          </p:cNvPr>
          <p:cNvSpPr txBox="1"/>
          <p:nvPr/>
        </p:nvSpPr>
        <p:spPr>
          <a:xfrm>
            <a:off x="332423" y="2178016"/>
            <a:ext cx="102542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tx2"/>
                </a:solidFill>
              </a:rPr>
              <a:t>Mapping Assets to Segments &amp; Adoption Ladder Stages</a:t>
            </a:r>
          </a:p>
          <a:p>
            <a:endParaRPr lang="en-US" sz="400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796693-FAD9-470C-852F-6EAAD5D92FE8}"/>
              </a:ext>
            </a:extLst>
          </p:cNvPr>
          <p:cNvSpPr txBox="1"/>
          <p:nvPr/>
        </p:nvSpPr>
        <p:spPr>
          <a:xfrm>
            <a:off x="741584" y="5849794"/>
            <a:ext cx="102542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/>
              <a:t>*Please note that the image above is illustrative &amp; intended to convey the process used to map content.  Content mapping has not been finalized and thus the mapping shown above is subject to change. </a:t>
            </a:r>
            <a:endParaRPr lang="en-GB" sz="1200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95814F-E146-4029-8A8C-9D56D2B317B4}"/>
              </a:ext>
            </a:extLst>
          </p:cNvPr>
          <p:cNvSpPr txBox="1"/>
          <p:nvPr/>
        </p:nvSpPr>
        <p:spPr>
          <a:xfrm>
            <a:off x="741584" y="4772576"/>
            <a:ext cx="102542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Currently a mapping process is underway to identify which segments are the most appropriate recipients of individual assets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his file once completed will allow for local users to search the current content library for assets based on the relevant segment &amp; adoption ladder stages they need.</a:t>
            </a:r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275177416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DCDB5-AF31-4B0F-A965-B862AA95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ulti-segment Content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C64B99-7108-4044-894D-EFDEE28FD34F}"/>
              </a:ext>
            </a:extLst>
          </p:cNvPr>
          <p:cNvSpPr txBox="1"/>
          <p:nvPr/>
        </p:nvSpPr>
        <p:spPr>
          <a:xfrm>
            <a:off x="760679" y="828674"/>
            <a:ext cx="1049660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In some cases, the message source / asset will be the same for 2 customers, but the sales rep or speaker will emphasize different points of the content to align with segmented key messages. </a:t>
            </a:r>
            <a:endParaRPr lang="en-GB" b="1">
              <a:solidFill>
                <a:srgbClr val="80808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AF3EC4-8084-4257-B6C0-25A1DB3E674E}"/>
              </a:ext>
            </a:extLst>
          </p:cNvPr>
          <p:cNvSpPr txBox="1"/>
          <p:nvPr/>
        </p:nvSpPr>
        <p:spPr>
          <a:xfrm>
            <a:off x="1177023" y="2535472"/>
            <a:ext cx="944017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u="none" strike="noStrike">
                <a:solidFill>
                  <a:srgbClr val="585858"/>
                </a:solidFill>
                <a:effectLst/>
                <a:latin typeface="+mj-lt"/>
              </a:rPr>
              <a:t>“JYSELECA, the </a:t>
            </a:r>
            <a:r>
              <a:rPr lang="en-GB" b="0" u="none" strike="noStrike">
                <a:solidFill>
                  <a:srgbClr val="7B8C46"/>
                </a:solidFill>
                <a:effectLst/>
                <a:latin typeface="+mj-lt"/>
              </a:rPr>
              <a:t>once-daily oral JAK-1 preferential inhibitor</a:t>
            </a:r>
            <a:r>
              <a:rPr lang="en-GB" b="0" u="none" strike="noStrike">
                <a:solidFill>
                  <a:srgbClr val="585858"/>
                </a:solidFill>
                <a:effectLst/>
                <a:latin typeface="+mj-lt"/>
              </a:rPr>
              <a:t>, has shown</a:t>
            </a:r>
            <a:r>
              <a:rPr lang="en-GB" b="0" u="none" strike="noStrike">
                <a:solidFill>
                  <a:srgbClr val="A15699"/>
                </a:solidFill>
                <a:effectLst/>
                <a:latin typeface="+mj-lt"/>
              </a:rPr>
              <a:t> fast and sustained efficacy across all important clinical outcomes: ACR50/70 scores, radiographic progression as well as remission</a:t>
            </a:r>
            <a:r>
              <a:rPr lang="en-GB" b="0" u="none" strike="noStrike">
                <a:solidFill>
                  <a:srgbClr val="585858"/>
                </a:solidFill>
                <a:effectLst/>
                <a:latin typeface="+mj-lt"/>
              </a:rPr>
              <a:t>… </a:t>
            </a:r>
            <a:r>
              <a:rPr lang="en-GB">
                <a:solidFill>
                  <a:srgbClr val="585858"/>
                </a:solidFill>
                <a:latin typeface="+mj-lt"/>
              </a:rPr>
              <a:t>The efficacy of JYSELECA is paired </a:t>
            </a:r>
            <a:r>
              <a:rPr lang="en-GB">
                <a:solidFill>
                  <a:srgbClr val="008986"/>
                </a:solidFill>
                <a:latin typeface="+mj-lt"/>
              </a:rPr>
              <a:t>with low rates of </a:t>
            </a:r>
            <a:r>
              <a:rPr lang="en-GB" err="1">
                <a:solidFill>
                  <a:srgbClr val="008986"/>
                </a:solidFill>
                <a:latin typeface="+mj-lt"/>
              </a:rPr>
              <a:t>JAKi</a:t>
            </a:r>
            <a:r>
              <a:rPr lang="en-GB">
                <a:solidFill>
                  <a:srgbClr val="008986"/>
                </a:solidFill>
                <a:latin typeface="+mj-lt"/>
              </a:rPr>
              <a:t> associated adverse events, serious infections, herpes zoster and VTE</a:t>
            </a:r>
            <a:r>
              <a:rPr lang="en-GB">
                <a:solidFill>
                  <a:srgbClr val="585858"/>
                </a:solidFill>
                <a:latin typeface="+mj-lt"/>
              </a:rPr>
              <a:t>, similar to those of adalimumab.”​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C06D51-C5B2-417B-B4E9-C07A33783458}"/>
              </a:ext>
            </a:extLst>
          </p:cNvPr>
          <p:cNvSpPr txBox="1"/>
          <p:nvPr/>
        </p:nvSpPr>
        <p:spPr>
          <a:xfrm>
            <a:off x="760679" y="2104585"/>
            <a:ext cx="102542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xample: Why </a:t>
            </a:r>
            <a:r>
              <a:rPr lang="en-US" b="1" err="1"/>
              <a:t>Jyseleca</a:t>
            </a:r>
            <a:r>
              <a:rPr lang="en-US" b="1"/>
              <a:t> </a:t>
            </a:r>
          </a:p>
          <a:p>
            <a:endParaRPr lang="en-US" sz="400" b="1"/>
          </a:p>
        </p:txBody>
      </p:sp>
      <p:pic>
        <p:nvPicPr>
          <p:cNvPr id="15" name="Picture 14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CAEA1FFB-059D-4017-BBF6-D09D320608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984" y="5792615"/>
            <a:ext cx="843216" cy="843924"/>
          </a:xfrm>
          <a:prstGeom prst="rect">
            <a:avLst/>
          </a:prstGeom>
        </p:spPr>
      </p:pic>
      <p:pic>
        <p:nvPicPr>
          <p:cNvPr id="16" name="Picture 15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A90EB2C0-374B-4964-A5DD-8C0B41F955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984" y="3884992"/>
            <a:ext cx="843924" cy="843924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9C6E3FA9-0844-45E8-8D3F-2B438E1164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530" y="4821431"/>
            <a:ext cx="878670" cy="87867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EF7B478-14E2-4F22-805F-22749D52F7AA}"/>
              </a:ext>
            </a:extLst>
          </p:cNvPr>
          <p:cNvSpPr txBox="1"/>
          <p:nvPr/>
        </p:nvSpPr>
        <p:spPr>
          <a:xfrm>
            <a:off x="3759200" y="4077788"/>
            <a:ext cx="3835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A15699"/>
                </a:solidFill>
              </a:rPr>
              <a:t>Mavericks</a:t>
            </a:r>
            <a:r>
              <a:rPr lang="en-US" b="1"/>
              <a:t>: </a:t>
            </a:r>
            <a:r>
              <a:rPr lang="en-US"/>
              <a:t>Emphasize efficacy </a:t>
            </a:r>
            <a:endParaRPr lang="en-US" b="1"/>
          </a:p>
          <a:p>
            <a:endParaRPr lang="en-US" sz="400" b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3F375D-F195-4ED5-B45B-D3DB7D14C25E}"/>
              </a:ext>
            </a:extLst>
          </p:cNvPr>
          <p:cNvSpPr txBox="1"/>
          <p:nvPr/>
        </p:nvSpPr>
        <p:spPr>
          <a:xfrm>
            <a:off x="3759200" y="5080689"/>
            <a:ext cx="3835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008986"/>
                </a:solidFill>
              </a:rPr>
              <a:t>Pragmatists</a:t>
            </a:r>
            <a:r>
              <a:rPr lang="en-US" b="1"/>
              <a:t>: </a:t>
            </a:r>
            <a:r>
              <a:rPr lang="en-US"/>
              <a:t>Emphasize safety </a:t>
            </a:r>
            <a:endParaRPr lang="en-US" b="1"/>
          </a:p>
          <a:p>
            <a:endParaRPr lang="en-US" sz="400" b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C65A5B-39F1-4A31-9362-156798963CF4}"/>
              </a:ext>
            </a:extLst>
          </p:cNvPr>
          <p:cNvSpPr txBox="1"/>
          <p:nvPr/>
        </p:nvSpPr>
        <p:spPr>
          <a:xfrm>
            <a:off x="3759200" y="5999133"/>
            <a:ext cx="7759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7B8C46"/>
                </a:solidFill>
              </a:rPr>
              <a:t>Compassionates</a:t>
            </a:r>
            <a:r>
              <a:rPr lang="en-US" b="1"/>
              <a:t>: </a:t>
            </a:r>
            <a:r>
              <a:rPr lang="en-US"/>
              <a:t>Emphasize Patient Convenience (&amp; Safety) </a:t>
            </a:r>
            <a:endParaRPr lang="en-US" b="1"/>
          </a:p>
          <a:p>
            <a:endParaRPr lang="en-US" sz="400" b="1"/>
          </a:p>
        </p:txBody>
      </p:sp>
    </p:spTree>
    <p:extLst>
      <p:ext uri="{BB962C8B-B14F-4D97-AF65-F5344CB8AC3E}">
        <p14:creationId xmlns:p14="http://schemas.microsoft.com/office/powerpoint/2010/main" val="55890888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9BEE0E2-8DAB-4CBB-82DB-7AB30F32F93F}"/>
              </a:ext>
            </a:extLst>
          </p:cNvPr>
          <p:cNvSpPr/>
          <p:nvPr/>
        </p:nvSpPr>
        <p:spPr bwMode="auto">
          <a:xfrm>
            <a:off x="0" y="1936495"/>
            <a:ext cx="12192000" cy="22448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DDCDB5-AF31-4B0F-A965-B862AA95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CP Journeys Implications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C64B99-7108-4044-894D-EFDEE28FD34F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Based on this mapping, and the ‘maturity’ of the market, we can develop HCP Journeys that deliver segmented content to HCP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8F6D67-C025-4A49-808B-05A170CB2A58}"/>
              </a:ext>
            </a:extLst>
          </p:cNvPr>
          <p:cNvSpPr txBox="1"/>
          <p:nvPr/>
        </p:nvSpPr>
        <p:spPr>
          <a:xfrm>
            <a:off x="671902" y="2096616"/>
            <a:ext cx="10496601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/>
              <a:t>However, a core principle we keep hearing is ‘</a:t>
            </a:r>
            <a:r>
              <a:rPr lang="en-US" sz="2000" b="1">
                <a:solidFill>
                  <a:schemeClr val="tx2"/>
                </a:solidFill>
              </a:rPr>
              <a:t>simplicity</a:t>
            </a:r>
            <a:r>
              <a:rPr lang="en-US" sz="2000"/>
              <a:t>’. </a:t>
            </a:r>
          </a:p>
          <a:p>
            <a:pPr algn="ctr"/>
            <a:endParaRPr lang="en-US" sz="2000"/>
          </a:p>
          <a:p>
            <a:pPr algn="ctr"/>
            <a:r>
              <a:rPr lang="en-US" sz="2000"/>
              <a:t>Our aim therefore needs to enable the </a:t>
            </a:r>
            <a:r>
              <a:rPr lang="en-US" sz="2000" b="1">
                <a:solidFill>
                  <a:schemeClr val="tx2"/>
                </a:solidFill>
              </a:rPr>
              <a:t>execution of segmented campaigns </a:t>
            </a:r>
            <a:r>
              <a:rPr lang="en-US" sz="2000"/>
              <a:t>that remains as simple as possible, avoiding too many journey documents.</a:t>
            </a:r>
          </a:p>
          <a:p>
            <a:pPr algn="ctr"/>
            <a:endParaRPr lang="en-US" sz="2000"/>
          </a:p>
          <a:p>
            <a:pPr algn="ctr"/>
            <a:r>
              <a:rPr lang="en-US" sz="1600" b="1">
                <a:solidFill>
                  <a:schemeClr val="tx2"/>
                </a:solidFill>
              </a:rPr>
              <a:t> (4x Adoption Ladders) x (5x HCP Journeys) = </a:t>
            </a:r>
            <a:r>
              <a:rPr lang="en-US" sz="1600" b="1" u="sng">
                <a:solidFill>
                  <a:schemeClr val="tx2"/>
                </a:solidFill>
              </a:rPr>
              <a:t>20 Journey docum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2C1AA3-FDC0-4195-9BCB-196C6816CD76}"/>
              </a:ext>
            </a:extLst>
          </p:cNvPr>
          <p:cNvSpPr txBox="1"/>
          <p:nvPr/>
        </p:nvSpPr>
        <p:spPr>
          <a:xfrm>
            <a:off x="1997211" y="4926651"/>
            <a:ext cx="811180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/>
              <a:t>We can therefore take th</a:t>
            </a:r>
            <a:r>
              <a:rPr lang="en-US"/>
              <a:t>e approach to </a:t>
            </a:r>
            <a:r>
              <a:rPr lang="en-US" sz="1800"/>
              <a:t>create </a:t>
            </a:r>
            <a:r>
              <a:rPr lang="en-US" sz="1800" i="1" u="sng"/>
              <a:t>somewhat</a:t>
            </a:r>
            <a:r>
              <a:rPr lang="en-US" sz="1800"/>
              <a:t> consolidated journeys that </a:t>
            </a:r>
            <a:r>
              <a:rPr lang="en-US" sz="1800" b="1">
                <a:solidFill>
                  <a:schemeClr val="accent1"/>
                </a:solidFill>
              </a:rPr>
              <a:t>call out the variance in message or content</a:t>
            </a:r>
            <a:r>
              <a:rPr lang="en-US" sz="1800">
                <a:solidFill>
                  <a:schemeClr val="accent1"/>
                </a:solidFill>
              </a:rPr>
              <a:t> </a:t>
            </a:r>
            <a:r>
              <a:rPr lang="en-US" sz="1800"/>
              <a:t>based on the segment, thereby being simpler to execute, whilst minimising the loss of strategic differentiation.</a:t>
            </a:r>
          </a:p>
        </p:txBody>
      </p:sp>
    </p:spTree>
    <p:extLst>
      <p:ext uri="{BB962C8B-B14F-4D97-AF65-F5344CB8AC3E}">
        <p14:creationId xmlns:p14="http://schemas.microsoft.com/office/powerpoint/2010/main" val="107401642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01D225F-2D78-43AA-88FC-8A38544827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F019C8-FD4D-481D-9F95-BBA6B1C809B4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D08D756-B6F2-498E-836E-DC4D72CD6123}">
  <ds:schemaRefs>
    <ds:schemaRef ds:uri="0d8c423f-ad67-45a2-8b05-97a43a5b7821"/>
    <ds:schemaRef ds:uri="ead0e857-dec6-4b1e-afd3-48dbfac7dd48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98</Words>
  <Application>Microsoft Office PowerPoint</Application>
  <PresentationFormat>Widescreen</PresentationFormat>
  <Paragraphs>12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Tahoma</vt:lpstr>
      <vt:lpstr>Times</vt:lpstr>
      <vt:lpstr>Wingdings</vt:lpstr>
      <vt:lpstr>Galapagos_template_Basic</vt:lpstr>
      <vt:lpstr>think-cell Slide</vt:lpstr>
      <vt:lpstr>PowerPoint Presentation</vt:lpstr>
      <vt:lpstr>Meeting Context</vt:lpstr>
      <vt:lpstr>Segmented Content – Setting the Stage</vt:lpstr>
      <vt:lpstr>HCP Segmentation Distinctions</vt:lpstr>
      <vt:lpstr>JYSELECA Launch Strategy – RA </vt:lpstr>
      <vt:lpstr>Key Messaging per Segment</vt:lpstr>
      <vt:lpstr>Existing Content</vt:lpstr>
      <vt:lpstr>Multi-segment Content</vt:lpstr>
      <vt:lpstr>HCP Journeys Implic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ander Richwood</cp:lastModifiedBy>
  <cp:revision>1</cp:revision>
  <dcterms:created xsi:type="dcterms:W3CDTF">2021-03-30T11:11:57Z</dcterms:created>
  <dcterms:modified xsi:type="dcterms:W3CDTF">2021-05-06T11:3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